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628691790742796</c:v>
                </c:pt>
                <c:pt idx="1">
                  <c:v>34.610872841737056</c:v>
                </c:pt>
                <c:pt idx="2">
                  <c:v>36.608541970303747</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061451000000002</c:v>
                </c:pt>
                <c:pt idx="1">
                  <c:v>3.6173330000000021</c:v>
                </c:pt>
                <c:pt idx="2">
                  <c:v>3.8279159999999948</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5.690142790742797</c:v>
                </c:pt>
                <c:pt idx="1">
                  <c:v>38.228205841737058</c:v>
                </c:pt>
                <c:pt idx="2">
                  <c:v>40.436457970303742</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9.51292903948189</c:v>
                </c:pt>
                <c:pt idx="1">
                  <c:v>92.921950022467087</c:v>
                </c:pt>
                <c:pt idx="2">
                  <c:v>94.44758530009626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1047570652386351</c:v>
                </c:pt>
                <c:pt idx="1">
                  <c:v>89.120597362296351</c:v>
                </c:pt>
                <c:pt idx="2">
                  <c:v>93.65651667959659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3.617686104720505</c:v>
                </c:pt>
                <c:pt idx="1">
                  <c:v>182.04254738476342</c:v>
                </c:pt>
                <c:pt idx="2">
                  <c:v>188.1041019796928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94.447585300096264</c:v>
                </c:pt>
                <c:pt idx="2">
                  <c:v>146.24277718011766</c:v>
                </c:pt>
                <c:pt idx="3">
                  <c:v>104.23256788299203</c:v>
                </c:pt>
                <c:pt idx="4">
                  <c:v>67.335353332125663</c:v>
                </c:pt>
                <c:pt idx="5">
                  <c:v>91.423320814580592</c:v>
                </c:pt>
                <c:pt idx="7">
                  <c:v>102.308504802454</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93.656516679596592</c:v>
                </c:pt>
                <c:pt idx="2">
                  <c:v>179.68815789473683</c:v>
                </c:pt>
                <c:pt idx="3">
                  <c:v>114.39649177034232</c:v>
                </c:pt>
                <c:pt idx="4">
                  <c:v>83.323174058773091</c:v>
                </c:pt>
                <c:pt idx="5">
                  <c:v>64.037464972553835</c:v>
                </c:pt>
                <c:pt idx="7">
                  <c:v>110.36132217410152</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188.10410197969281</c:v>
                </c:pt>
                <c:pt idx="2">
                  <c:v>325.93093507485452</c:v>
                </c:pt>
                <c:pt idx="3">
                  <c:v>218.62905965333437</c:v>
                </c:pt>
                <c:pt idx="4">
                  <c:v>150.65852739089874</c:v>
                </c:pt>
                <c:pt idx="5">
                  <c:v>155.4607857871344</c:v>
                </c:pt>
                <c:pt idx="7">
                  <c:v>212.6698269765555</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1391912636170649</c:v>
                </c:pt>
                <c:pt idx="2">
                  <c:v>2.4306615209933748</c:v>
                </c:pt>
                <c:pt idx="3">
                  <c:v>2.4346996206207212</c:v>
                </c:pt>
                <c:pt idx="4">
                  <c:v>2.5005398715792007</c:v>
                </c:pt>
                <c:pt idx="6">
                  <c:v>4.6180766528310153</c:v>
                </c:pt>
                <c:pt idx="7">
                  <c:v>4.6180766528310153</c:v>
                </c:pt>
                <c:pt idx="8">
                  <c:v>4.6266580822641847</c:v>
                </c:pt>
                <c:pt idx="9">
                  <c:v>4.73238774903648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034179263617065</c:v>
                </c:pt>
                <c:pt idx="5">
                  <c:v>2.3955278715792012</c:v>
                </c:pt>
                <c:pt idx="10">
                  <c:v>2.434858749036481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914702573763101</c:v>
                </c:pt>
                <c:pt idx="2">
                  <c:v>4.0380996273463692E-3</c:v>
                </c:pt>
                <c:pt idx="3">
                  <c:v>6.5840250958479674E-2</c:v>
                </c:pt>
                <c:pt idx="7">
                  <c:v>8.581429433169481E-3</c:v>
                </c:pt>
                <c:pt idx="8">
                  <c:v>0.105729666772296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7.498021874818583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0501199999999999</c:v>
                </c:pt>
                <c:pt idx="5">
                  <c:v>2.2975289999999999</c:v>
                </c:pt>
                <c:pt idx="10">
                  <c:v>2.414464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192517</c:v>
                </c:pt>
                <c:pt idx="9">
                  <c:v>0.1169359999999999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1391912636170649</c:v>
                </c:pt>
                <c:pt idx="5">
                  <c:v>4.6930568715792012</c:v>
                </c:pt>
                <c:pt idx="10">
                  <c:v>4.849323749036480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Klantenpotentieel regionaal</c:v>
                </c:pt>
                <c:pt idx="6">
                  <c:v>Loonkostensubsidie</c:v>
                </c:pt>
                <c:pt idx="7">
                  <c:v>Omgevingsadressendichtheid</c:v>
                </c:pt>
                <c:pt idx="10">
                  <c:v>Overig</c:v>
                </c:pt>
              </c:strCache>
            </c:strRef>
          </c:cat>
          <c:val>
            <c:numRef>
              <c:f>Sheet1!$B$2:$B$12</c:f>
              <c:numCache>
                <c:formatCode>General</c:formatCode>
                <c:ptCount val="11"/>
                <c:pt idx="0">
                  <c:v>1.0322692182400013</c:v>
                </c:pt>
                <c:pt idx="1">
                  <c:v>0.60167515699200003</c:v>
                </c:pt>
                <c:pt idx="2">
                  <c:v>0.31832937760000007</c:v>
                </c:pt>
                <c:pt idx="3">
                  <c:v>0.27591314296832004</c:v>
                </c:pt>
                <c:pt idx="4">
                  <c:v>0.10617215544000001</c:v>
                </c:pt>
                <c:pt idx="5">
                  <c:v>3.7402107600000005E-2</c:v>
                </c:pt>
                <c:pt idx="6">
                  <c:v>3.465205172E-2</c:v>
                </c:pt>
                <c:pt idx="7">
                  <c:v>2.844553847616000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2873199999999998</c:v>
                </c:pt>
                <c:pt idx="1">
                  <c:v>9.8678000000000002E-2</c:v>
                </c:pt>
                <c:pt idx="2">
                  <c:v>2.8466999999999999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4281097524053334</c:v>
                </c:pt>
                <c:pt idx="1">
                  <c:v>0.56616383231569334</c:v>
                </c:pt>
                <c:pt idx="2">
                  <c:v>0.6175263241603734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978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4281097524053334</c:v>
                </c:pt>
                <c:pt idx="1">
                  <c:v>0.56616383231569334</c:v>
                </c:pt>
                <c:pt idx="2">
                  <c:v>0.6473063241603734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217643561761065</c:v>
                </c:pt>
                <c:pt idx="1">
                  <c:v>21.961358895100595</c:v>
                </c:pt>
                <c:pt idx="2">
                  <c:v>23.95369760125575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5159038013964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217643561761065</c:v>
                </c:pt>
                <c:pt idx="1">
                  <c:v>21.961358895100595</c:v>
                </c:pt>
                <c:pt idx="2">
                  <c:v>25.1088566392697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23.953697601255758</c:v>
                </c:pt>
                <c:pt idx="2">
                  <c:v>27.580499705976781</c:v>
                </c:pt>
                <c:pt idx="3">
                  <c:v>24.679521031790436</c:v>
                </c:pt>
                <c:pt idx="4">
                  <c:v>20.667631204164003</c:v>
                </c:pt>
                <c:pt idx="5">
                  <c:v>26.056652425501767</c:v>
                </c:pt>
                <c:pt idx="7">
                  <c:v>24.746076091858249</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1.1551590380139642</c:v>
                </c:pt>
                <c:pt idx="2">
                  <c:v>1.1586687306501549</c:v>
                </c:pt>
                <c:pt idx="3">
                  <c:v>1.160304458697164</c:v>
                </c:pt>
                <c:pt idx="4">
                  <c:v>1.1599111388260972</c:v>
                </c:pt>
                <c:pt idx="5">
                  <c:v>1.1518175885762543</c:v>
                </c:pt>
                <c:pt idx="7">
                  <c:v>1.1576754791874175</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25.108856639269725</c:v>
                </c:pt>
                <c:pt idx="2">
                  <c:v>28.739168436626933</c:v>
                </c:pt>
                <c:pt idx="3">
                  <c:v>25.839825490487602</c:v>
                </c:pt>
                <c:pt idx="4">
                  <c:v>21.8275423429901</c:v>
                </c:pt>
                <c:pt idx="5">
                  <c:v>27.208470014078021</c:v>
                </c:pt>
                <c:pt idx="7">
                  <c:v>25.903751571045664</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2617496253822071</c:v>
                </c:pt>
                <c:pt idx="2">
                  <c:v>0.52617496253822071</c:v>
                </c:pt>
                <c:pt idx="3">
                  <c:v>0.5342061066890641</c:v>
                </c:pt>
                <c:pt idx="4">
                  <c:v>0.56616383231569323</c:v>
                </c:pt>
                <c:pt idx="6">
                  <c:v>0.56349396238038174</c:v>
                </c:pt>
                <c:pt idx="7">
                  <c:v>0.56349396238038174</c:v>
                </c:pt>
                <c:pt idx="8">
                  <c:v>0.58935519068395081</c:v>
                </c:pt>
                <c:pt idx="9">
                  <c:v>0.6175263241603734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4281097524053334</c:v>
                </c:pt>
                <c:pt idx="5">
                  <c:v>0.56616383231569334</c:v>
                </c:pt>
                <c:pt idx="10">
                  <c:v>0.6175263241603734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8.0311441508434094E-3</c:v>
                </c:pt>
                <c:pt idx="3">
                  <c:v>3.1957725626629185E-2</c:v>
                </c:pt>
                <c:pt idx="7">
                  <c:v>2.5861228303569121E-2</c:v>
                </c:pt>
                <c:pt idx="8">
                  <c:v>2.817113347642258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6636012702312596E-2</c:v>
                </c:pt>
                <c:pt idx="6">
                  <c:v>2.6698699353115917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9780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9780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4281097524053334</c:v>
                </c:pt>
                <c:pt idx="5">
                  <c:v>0.56616383231569334</c:v>
                </c:pt>
                <c:pt idx="10">
                  <c:v>0.6473063241603734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Eenouderhuishoudens</c:v>
                </c:pt>
                <c:pt idx="4">
                  <c:v>Huishoudens</c:v>
                </c:pt>
                <c:pt idx="5">
                  <c:v>Minderheden</c:v>
                </c:pt>
                <c:pt idx="6">
                  <c:v>Bijstandsontvangers</c:v>
                </c:pt>
                <c:pt idx="7">
                  <c:v>Omgevingsadressendichtheid</c:v>
                </c:pt>
                <c:pt idx="8">
                  <c:v>Klantenpotentieel lokaal</c:v>
                </c:pt>
                <c:pt idx="9">
                  <c:v>Uitkeringsontvangers</c:v>
                </c:pt>
                <c:pt idx="10">
                  <c:v>Overig</c:v>
                </c:pt>
              </c:strCache>
            </c:strRef>
          </c:cat>
          <c:val>
            <c:numRef>
              <c:f>Sheet1!$B$2:$B$12</c:f>
              <c:numCache>
                <c:formatCode>General</c:formatCode>
                <c:ptCount val="11"/>
                <c:pt idx="0">
                  <c:v>0.16149778476000001</c:v>
                </c:pt>
                <c:pt idx="1">
                  <c:v>0.12342535920000001</c:v>
                </c:pt>
                <c:pt idx="2">
                  <c:v>9.732594435200001E-2</c:v>
                </c:pt>
                <c:pt idx="3">
                  <c:v>4.2036736560000003E-2</c:v>
                </c:pt>
                <c:pt idx="4">
                  <c:v>3.10442184E-2</c:v>
                </c:pt>
                <c:pt idx="5">
                  <c:v>2.9791533199999998E-2</c:v>
                </c:pt>
                <c:pt idx="6">
                  <c:v>2.8195244826666702E-2</c:v>
                </c:pt>
                <c:pt idx="7">
                  <c:v>2.0280615395039999E-2</c:v>
                </c:pt>
                <c:pt idx="8">
                  <c:v>1.9977516000000001E-2</c:v>
                </c:pt>
                <c:pt idx="9">
                  <c:v>1.7392459066666706E-2</c:v>
                </c:pt>
                <c:pt idx="10">
                  <c:v>4.655891239999998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45.43219289148249</c:v>
                </c:pt>
                <c:pt idx="1">
                  <c:v>1342.5474337368912</c:v>
                </c:pt>
                <c:pt idx="2">
                  <c:v>1420.0365388015416</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49.64042528241418</c:v>
                </c:pt>
                <c:pt idx="1">
                  <c:v>140.31547711404198</c:v>
                </c:pt>
                <c:pt idx="2">
                  <c:v>148.48394103956537</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95.0726181738967</c:v>
                </c:pt>
                <c:pt idx="1">
                  <c:v>1482.8629108509331</c:v>
                </c:pt>
                <c:pt idx="2">
                  <c:v>1568.520479841106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978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9359565779882667</c:v>
                </c:pt>
                <c:pt idx="1">
                  <c:v>6.7925885273041393</c:v>
                </c:pt>
                <c:pt idx="2">
                  <c:v>6.94939739122851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46718500000000002</c:v>
                </c:pt>
                <c:pt idx="2">
                  <c:v>0.8712039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9359565779882667</c:v>
                </c:pt>
                <c:pt idx="1">
                  <c:v>7.2597735273041391</c:v>
                </c:pt>
                <c:pt idx="2">
                  <c:v>7.82060139122851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5.26720130191941</c:v>
                </c:pt>
                <c:pt idx="1">
                  <c:v>1174.9850419138797</c:v>
                </c:pt>
                <c:pt idx="2">
                  <c:v>1202.109910262674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80.813873032347345</c:v>
                </c:pt>
                <c:pt idx="2">
                  <c:v>150.7012627573084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5.26720130191941</c:v>
                </c:pt>
                <c:pt idx="1">
                  <c:v>1255.7989149462271</c:v>
                </c:pt>
                <c:pt idx="2">
                  <c:v>1352.81117301998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1202.1099102626742</c:v>
                </c:pt>
                <c:pt idx="2">
                  <c:v>1309.8938674719655</c:v>
                </c:pt>
                <c:pt idx="3">
                  <c:v>1171.5383845074041</c:v>
                </c:pt>
                <c:pt idx="4">
                  <c:v>925.84827190615465</c:v>
                </c:pt>
                <c:pt idx="5">
                  <c:v>1086.3129291690204</c:v>
                </c:pt>
                <c:pt idx="7">
                  <c:v>1123.3983632636362</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150.70126275730843</c:v>
                </c:pt>
                <c:pt idx="2">
                  <c:v>161.81194826524327</c:v>
                </c:pt>
                <c:pt idx="3">
                  <c:v>82.617366605802388</c:v>
                </c:pt>
                <c:pt idx="4">
                  <c:v>453.14272890484744</c:v>
                </c:pt>
                <c:pt idx="5">
                  <c:v>73.636455186304133</c:v>
                </c:pt>
                <c:pt idx="7">
                  <c:v>192.80212474054932</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1352.8111730199823</c:v>
                </c:pt>
                <c:pt idx="2">
                  <c:v>1471.7058157372089</c:v>
                </c:pt>
                <c:pt idx="3">
                  <c:v>1254.1557511132064</c:v>
                </c:pt>
                <c:pt idx="4">
                  <c:v>1378.9910008110021</c:v>
                </c:pt>
                <c:pt idx="5">
                  <c:v>1159.9493843553244</c:v>
                </c:pt>
                <c:pt idx="7">
                  <c:v>1316.2004880041854</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86999968776879366</c:v>
                </c:pt>
                <c:pt idx="2">
                  <c:v>0.86999968776879366</c:v>
                </c:pt>
                <c:pt idx="3">
                  <c:v>6.7575377266963494</c:v>
                </c:pt>
                <c:pt idx="4">
                  <c:v>6.7925885273041393</c:v>
                </c:pt>
                <c:pt idx="6">
                  <c:v>7.2470341623404506</c:v>
                </c:pt>
                <c:pt idx="7">
                  <c:v>7.1008081164638668</c:v>
                </c:pt>
                <c:pt idx="8">
                  <c:v>7.1008081164638668</c:v>
                </c:pt>
                <c:pt idx="9">
                  <c:v>7.41658239122851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9359565779882667</c:v>
                </c:pt>
                <c:pt idx="5">
                  <c:v>6.7925885273041393</c:v>
                </c:pt>
                <c:pt idx="10">
                  <c:v>6.949397391228519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8875380389275556</c:v>
                </c:pt>
                <c:pt idx="3">
                  <c:v>3.5050800607789478E-2</c:v>
                </c:pt>
                <c:pt idx="8">
                  <c:v>0.3157742747646525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5956890219472999E-2</c:v>
                </c:pt>
                <c:pt idx="6">
                  <c:v>1.2739364963688634E-2</c:v>
                </c:pt>
                <c:pt idx="7">
                  <c:v>0.1462260458765840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46718500000000002</c:v>
                </c:pt>
                <c:pt idx="10">
                  <c:v>0.8712039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46718500000000002</c:v>
                </c:pt>
                <c:pt idx="9">
                  <c:v>0.40401899999999996</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9359565779882667</c:v>
                </c:pt>
                <c:pt idx="5">
                  <c:v>7.2597735273041391</c:v>
                </c:pt>
                <c:pt idx="10">
                  <c:v>7.820601391228518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Ouders lang psychisch medicijngebruik</c:v>
                </c:pt>
                <c:pt idx="2">
                  <c:v>Uitkeringsont. min. bijstandsont.</c:v>
                </c:pt>
                <c:pt idx="3">
                  <c:v>Gem. gestand. inkomen (huish. kinderen)</c:v>
                </c:pt>
                <c:pt idx="4">
                  <c:v>Gem. Gestand. inkomen (huishoudens)</c:v>
                </c:pt>
                <c:pt idx="5">
                  <c:v>Eenouderhuishoudens</c:v>
                </c:pt>
                <c:pt idx="6">
                  <c:v>Eenouderhuishoudens 2 of meer kinderen</c:v>
                </c:pt>
                <c:pt idx="7">
                  <c:v>BO leerlingen, leerlingengewicht 0,3</c:v>
                </c:pt>
                <c:pt idx="8">
                  <c:v>Bijstandsont. eenouderhuishoudens</c:v>
                </c:pt>
                <c:pt idx="9">
                  <c:v>Jeugdigen in gezinnen armoederisico</c:v>
                </c:pt>
                <c:pt idx="10">
                  <c:v>Overig</c:v>
                </c:pt>
              </c:strCache>
            </c:strRef>
          </c:cat>
          <c:val>
            <c:numRef>
              <c:f>Sheet1!$B$2:$B$12</c:f>
              <c:numCache>
                <c:formatCode>General</c:formatCode>
                <c:ptCount val="11"/>
                <c:pt idx="0">
                  <c:v>4.75295528916</c:v>
                </c:pt>
                <c:pt idx="1">
                  <c:v>1.9160375746740121</c:v>
                </c:pt>
                <c:pt idx="2">
                  <c:v>1.5388948005600001</c:v>
                </c:pt>
                <c:pt idx="3">
                  <c:v>-1.3694153667376001</c:v>
                </c:pt>
                <c:pt idx="4">
                  <c:v>-1.2726712647584</c:v>
                </c:pt>
                <c:pt idx="5">
                  <c:v>0.66713930556000001</c:v>
                </c:pt>
                <c:pt idx="6">
                  <c:v>0.46803768751999997</c:v>
                </c:pt>
                <c:pt idx="7">
                  <c:v>-0.44107711647999998</c:v>
                </c:pt>
                <c:pt idx="8">
                  <c:v>0.23768295200000011</c:v>
                </c:pt>
                <c:pt idx="9">
                  <c:v>0.20288184837648002</c:v>
                </c:pt>
                <c:pt idx="10">
                  <c:v>0.248931681354028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900814</c:v>
                </c:pt>
                <c:pt idx="1">
                  <c:v>0</c:v>
                </c:pt>
                <c:pt idx="6">
                  <c:v>-2.96100000000000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913942715981324</c:v>
                </c:pt>
                <c:pt idx="1">
                  <c:v>8.8474200314592153</c:v>
                </c:pt>
                <c:pt idx="2">
                  <c:v>9.479458843339392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990124</c:v>
                </c:pt>
                <c:pt idx="1">
                  <c:v>-5.4400000000000004E-3</c:v>
                </c:pt>
                <c:pt idx="2">
                  <c:v>1.42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8815182715981322</c:v>
                </c:pt>
                <c:pt idx="1">
                  <c:v>8.8419800314592152</c:v>
                </c:pt>
                <c:pt idx="2">
                  <c:v>9.493678843339392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3.02014117179894</c:v>
                </c:pt>
                <c:pt idx="1">
                  <c:v>343.18929524667249</c:v>
                </c:pt>
                <c:pt idx="2">
                  <c:v>367.7059287563767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7.790876754094512</c:v>
                </c:pt>
                <c:pt idx="1">
                  <c:v>-0.21101629169899147</c:v>
                </c:pt>
                <c:pt idx="2">
                  <c:v>0.5515903801396431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0.81101792589345</c:v>
                </c:pt>
                <c:pt idx="1">
                  <c:v>342.97827895497346</c:v>
                </c:pt>
                <c:pt idx="2">
                  <c:v>368.2575191365164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367.70592875637675</c:v>
                </c:pt>
                <c:pt idx="2">
                  <c:v>441.38697711812011</c:v>
                </c:pt>
                <c:pt idx="3">
                  <c:v>346.14731525725978</c:v>
                </c:pt>
                <c:pt idx="4">
                  <c:v>354.92307617054541</c:v>
                </c:pt>
                <c:pt idx="5">
                  <c:v>378.00893364165432</c:v>
                </c:pt>
                <c:pt idx="7">
                  <c:v>380.11657554689492</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0.55159038013964312</c:v>
                </c:pt>
                <c:pt idx="2">
                  <c:v>0.36687306501547989</c:v>
                </c:pt>
                <c:pt idx="3">
                  <c:v>0.91569430492233983</c:v>
                </c:pt>
                <c:pt idx="4">
                  <c:v>1.2007950736612363</c:v>
                </c:pt>
                <c:pt idx="5">
                  <c:v>0.90975394418640354</c:v>
                </c:pt>
                <c:pt idx="7">
                  <c:v>0.84827909694636483</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368.25751913651641</c:v>
                </c:pt>
                <c:pt idx="2">
                  <c:v>441.75385018313563</c:v>
                </c:pt>
                <c:pt idx="3">
                  <c:v>347.06300956218212</c:v>
                </c:pt>
                <c:pt idx="4">
                  <c:v>356.12387124420667</c:v>
                </c:pt>
                <c:pt idx="5">
                  <c:v>378.91868758584076</c:v>
                </c:pt>
                <c:pt idx="7">
                  <c:v>380.96485464384125</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81731854517983515</c:v>
                </c:pt>
                <c:pt idx="1">
                  <c:v>0.82926851589167183</c:v>
                </c:pt>
                <c:pt idx="2">
                  <c:v>0.84049773764290336</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81731854517983515</c:v>
                </c:pt>
                <c:pt idx="1">
                  <c:v>0.82926851589167183</c:v>
                </c:pt>
                <c:pt idx="2">
                  <c:v>0.84049773764290336</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8815182715981322</c:v>
                </c:pt>
                <c:pt idx="2">
                  <c:v>5.0268562994913335</c:v>
                </c:pt>
                <c:pt idx="3">
                  <c:v>10.436728717910922</c:v>
                </c:pt>
                <c:pt idx="4">
                  <c:v>8.8419800314592152</c:v>
                </c:pt>
                <c:pt idx="6">
                  <c:v>8.8419800314592152</c:v>
                </c:pt>
                <c:pt idx="7">
                  <c:v>9.0214164209570988</c:v>
                </c:pt>
                <c:pt idx="8">
                  <c:v>9.0355971328067106</c:v>
                </c:pt>
                <c:pt idx="9">
                  <c:v>9.474018843339392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8913942715981324</c:v>
                </c:pt>
                <c:pt idx="5">
                  <c:v>8.8474200314592153</c:v>
                </c:pt>
                <c:pt idx="10">
                  <c:v>9.479458843339392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4533802789320147</c:v>
                </c:pt>
                <c:pt idx="2">
                  <c:v>5.4098724184195888</c:v>
                </c:pt>
                <c:pt idx="3">
                  <c:v>0.40081531354829236</c:v>
                </c:pt>
                <c:pt idx="6">
                  <c:v>0.17943638949788288</c:v>
                </c:pt>
                <c:pt idx="7">
                  <c:v>1.4180711849612311E-2</c:v>
                </c:pt>
                <c:pt idx="8">
                  <c:v>0.4384217105326817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990124</c:v>
                </c:pt>
                <c:pt idx="5">
                  <c:v>-5.4399999999998894E-3</c:v>
                </c:pt>
                <c:pt idx="10">
                  <c:v>1.422000000000011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966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9955639999999999</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8815182715981322</c:v>
                </c:pt>
                <c:pt idx="5">
                  <c:v>8.8419800314592152</c:v>
                </c:pt>
                <c:pt idx="10">
                  <c:v>9.493678843339392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Gem. gestandaardiseerd inkomen 75 t/m 84</c:v>
                </c:pt>
                <c:pt idx="5">
                  <c:v>Uitkeringsont. min bijstandsont.</c:v>
                </c:pt>
                <c:pt idx="6">
                  <c:v>Wajong</c:v>
                </c:pt>
                <c:pt idx="7">
                  <c:v>Klantenpotentieel lokaal</c:v>
                </c:pt>
                <c:pt idx="8">
                  <c:v>Huishoudens</c:v>
                </c:pt>
                <c:pt idx="9">
                  <c:v>Gem. gestandaardiseerd inkomen 85+</c:v>
                </c:pt>
                <c:pt idx="10">
                  <c:v>Overig</c:v>
                </c:pt>
              </c:strCache>
            </c:strRef>
          </c:cat>
          <c:val>
            <c:numRef>
              <c:f>Sheet1!$B$2:$B$12</c:f>
              <c:numCache>
                <c:formatCode>General</c:formatCode>
                <c:ptCount val="11"/>
                <c:pt idx="0">
                  <c:v>2.688110660042299</c:v>
                </c:pt>
                <c:pt idx="1">
                  <c:v>1.4108723720000003</c:v>
                </c:pt>
                <c:pt idx="2">
                  <c:v>1.1696176535680001</c:v>
                </c:pt>
                <c:pt idx="3">
                  <c:v>0.77129455884000009</c:v>
                </c:pt>
                <c:pt idx="4">
                  <c:v>0.39250300749660005</c:v>
                </c:pt>
                <c:pt idx="5">
                  <c:v>0.34527792312</c:v>
                </c:pt>
                <c:pt idx="6">
                  <c:v>0.34160082216000004</c:v>
                </c:pt>
                <c:pt idx="7">
                  <c:v>0.31927030199999995</c:v>
                </c:pt>
                <c:pt idx="8">
                  <c:v>0.30268112940000003</c:v>
                </c:pt>
                <c:pt idx="9">
                  <c:v>0.27552562734059999</c:v>
                </c:pt>
                <c:pt idx="10">
                  <c:v>1.462704787371892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1.42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370788315504</c:v>
                </c:pt>
                <c:pt idx="1">
                  <c:v>2.330123571885879</c:v>
                </c:pt>
                <c:pt idx="2">
                  <c:v>2.443499904181439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8895000000000001E-2</c:v>
                </c:pt>
                <c:pt idx="1">
                  <c:v>4.8895000000000001E-2</c:v>
                </c:pt>
                <c:pt idx="2">
                  <c:v>4.8895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859738315503999</c:v>
                </c:pt>
                <c:pt idx="1">
                  <c:v>2.379018571885879</c:v>
                </c:pt>
                <c:pt idx="2">
                  <c:v>2.49239490418143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47.21074523520093</c:v>
                </c:pt>
                <c:pt idx="1">
                  <c:v>403.06583149729789</c:v>
                </c:pt>
                <c:pt idx="2">
                  <c:v>422.6777208409338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5888561229241036</c:v>
                </c:pt>
                <c:pt idx="1">
                  <c:v>8.4578792596436596</c:v>
                </c:pt>
                <c:pt idx="2">
                  <c:v>8.457879259643659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54.79960135812507</c:v>
                </c:pt>
                <c:pt idx="1">
                  <c:v>411.52371075694157</c:v>
                </c:pt>
                <c:pt idx="2">
                  <c:v>431.1356001005775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422.67772084093389</c:v>
                </c:pt>
                <c:pt idx="2">
                  <c:v>582.22351672088701</c:v>
                </c:pt>
                <c:pt idx="3">
                  <c:v>383.66678401509438</c:v>
                </c:pt>
                <c:pt idx="4">
                  <c:v>432.68827802321368</c:v>
                </c:pt>
                <c:pt idx="5">
                  <c:v>497.05732893222159</c:v>
                </c:pt>
                <c:pt idx="7">
                  <c:v>473.90897692285409</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8.4578792596436596</c:v>
                </c:pt>
                <c:pt idx="2">
                  <c:v>11.26873331964689</c:v>
                </c:pt>
                <c:pt idx="3">
                  <c:v>8.6664637857577596</c:v>
                </c:pt>
                <c:pt idx="4">
                  <c:v>10.51032315978456</c:v>
                </c:pt>
                <c:pt idx="5">
                  <c:v>7.3768378650553874</c:v>
                </c:pt>
                <c:pt idx="7">
                  <c:v>9.4555895325611488</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431.13560010057756</c:v>
                </c:pt>
                <c:pt idx="2">
                  <c:v>593.49225004053392</c:v>
                </c:pt>
                <c:pt idx="3">
                  <c:v>392.33324780085218</c:v>
                </c:pt>
                <c:pt idx="4">
                  <c:v>443.19860118299823</c:v>
                </c:pt>
                <c:pt idx="5">
                  <c:v>504.43416679727693</c:v>
                </c:pt>
                <c:pt idx="7">
                  <c:v>483.36456645541529</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1589432493950644</c:v>
                </c:pt>
                <c:pt idx="2">
                  <c:v>2.1589432493950644</c:v>
                </c:pt>
                <c:pt idx="3">
                  <c:v>2.3206200582968974</c:v>
                </c:pt>
                <c:pt idx="4">
                  <c:v>2.379018571885879</c:v>
                </c:pt>
                <c:pt idx="6">
                  <c:v>2.3787085356233848</c:v>
                </c:pt>
                <c:pt idx="7">
                  <c:v>2.3787085356233848</c:v>
                </c:pt>
                <c:pt idx="8">
                  <c:v>2.3787085356233848</c:v>
                </c:pt>
                <c:pt idx="9">
                  <c:v>2.492394904181439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370788315504</c:v>
                </c:pt>
                <c:pt idx="5">
                  <c:v>2.330123571885879</c:v>
                </c:pt>
                <c:pt idx="10">
                  <c:v>2.443499904181439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6167680890183314</c:v>
                </c:pt>
                <c:pt idx="3">
                  <c:v>5.839851358898146E-2</c:v>
                </c:pt>
                <c:pt idx="8">
                  <c:v>0.1136863685580544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2703058215533555</c:v>
                </c:pt>
                <c:pt idx="6">
                  <c:v>3.1003626249432513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8895000000000001E-2</c:v>
                </c:pt>
                <c:pt idx="5">
                  <c:v>4.8895000000000001E-2</c:v>
                </c:pt>
                <c:pt idx="10">
                  <c:v>4.8895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859738315503999</c:v>
                </c:pt>
                <c:pt idx="5">
                  <c:v>2.379018571885879</c:v>
                </c:pt>
                <c:pt idx="10">
                  <c:v>2.492394904181439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and</c:v>
                </c:pt>
                <c:pt idx="2">
                  <c:v>Leerlingen VO</c:v>
                </c:pt>
                <c:pt idx="3">
                  <c:v>Huishoudens laag inkomen (drempel)</c:v>
                </c:pt>
                <c:pt idx="4">
                  <c:v>Kernen</c:v>
                </c:pt>
                <c:pt idx="5">
                  <c:v>Leerlingen (V)SO</c:v>
                </c:pt>
                <c:pt idx="6">
                  <c:v>Inwoners</c:v>
                </c:pt>
                <c:pt idx="7">
                  <c:v>Minderheden</c:v>
                </c:pt>
                <c:pt idx="8">
                  <c:v>Omgevingsadressendichtheid</c:v>
                </c:pt>
                <c:pt idx="9">
                  <c:v>Binnenwater</c:v>
                </c:pt>
                <c:pt idx="10">
                  <c:v>Overig</c:v>
                </c:pt>
              </c:strCache>
            </c:strRef>
          </c:cat>
          <c:val>
            <c:numRef>
              <c:f>Sheet1!$B$2:$B$12</c:f>
              <c:numCache>
                <c:formatCode>General</c:formatCode>
                <c:ptCount val="11"/>
                <c:pt idx="0">
                  <c:v>1.7016442871999999</c:v>
                </c:pt>
                <c:pt idx="1">
                  <c:v>0.20334436980000001</c:v>
                </c:pt>
                <c:pt idx="2">
                  <c:v>0.15045318288000001</c:v>
                </c:pt>
                <c:pt idx="3">
                  <c:v>0.13686666011200002</c:v>
                </c:pt>
                <c:pt idx="4">
                  <c:v>7.1285702800000003E-2</c:v>
                </c:pt>
                <c:pt idx="5">
                  <c:v>4.8592907563200005E-2</c:v>
                </c:pt>
                <c:pt idx="6">
                  <c:v>4.3219654400000009E-2</c:v>
                </c:pt>
                <c:pt idx="7">
                  <c:v>4.1308306000000003E-2</c:v>
                </c:pt>
                <c:pt idx="8">
                  <c:v>2.510933334624E-2</c:v>
                </c:pt>
                <c:pt idx="9">
                  <c:v>2.137421728E-2</c:v>
                </c:pt>
                <c:pt idx="10">
                  <c:v>3.0128279999930285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4.8895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3993019878906662</c:v>
                </c:pt>
                <c:pt idx="1">
                  <c:v>0.19948976621394668</c:v>
                </c:pt>
                <c:pt idx="2">
                  <c:v>0.2085396275137067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02</c:v>
                </c:pt>
                <c:pt idx="1">
                  <c:v>2.4289999999999999E-2</c:v>
                </c:pt>
                <c:pt idx="2">
                  <c:v>2.428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5993019878906661</c:v>
                </c:pt>
                <c:pt idx="1">
                  <c:v>0.22377976621394668</c:v>
                </c:pt>
                <c:pt idx="2">
                  <c:v>0.2328296275137067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0122279383999997</c:v>
                </c:pt>
                <c:pt idx="1">
                  <c:v>-2.9953137896199999</c:v>
                </c:pt>
                <c:pt idx="2">
                  <c:v>-2.81762564071999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122279383999997</c:v>
                </c:pt>
                <c:pt idx="1">
                  <c:v>-2.9953137896199999</c:v>
                </c:pt>
                <c:pt idx="2">
                  <c:v>-2.81762564071999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4696555833587395</c:v>
                </c:pt>
                <c:pt idx="1">
                  <c:v>7.7381600548466523</c:v>
                </c:pt>
                <c:pt idx="2">
                  <c:v>8.089201998204295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78176914357190319</c:v>
                </c:pt>
                <c:pt idx="1">
                  <c:v>0.94220325833979834</c:v>
                </c:pt>
                <c:pt idx="2">
                  <c:v>0.9422032583397983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251424726930642</c:v>
                </c:pt>
                <c:pt idx="1">
                  <c:v>8.6803633131864508</c:v>
                </c:pt>
                <c:pt idx="2">
                  <c:v>9.031405256544092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8.0892019982042953</c:v>
                </c:pt>
                <c:pt idx="2">
                  <c:v>8.6195136664643979</c:v>
                </c:pt>
                <c:pt idx="3">
                  <c:v>7.9302745709296047</c:v>
                </c:pt>
                <c:pt idx="4">
                  <c:v>6.8027427287177487</c:v>
                </c:pt>
                <c:pt idx="5">
                  <c:v>8.2677066840970923</c:v>
                </c:pt>
                <c:pt idx="7">
                  <c:v>7.9050594125522116</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0.94220325833979834</c:v>
                </c:pt>
                <c:pt idx="2">
                  <c:v>4.0443885448916408</c:v>
                </c:pt>
                <c:pt idx="3">
                  <c:v>0.93849007031914067</c:v>
                </c:pt>
                <c:pt idx="4">
                  <c:v>0</c:v>
                </c:pt>
                <c:pt idx="5">
                  <c:v>0</c:v>
                </c:pt>
                <c:pt idx="7">
                  <c:v>1.2457196538026953</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9.0314052565440921</c:v>
                </c:pt>
                <c:pt idx="2">
                  <c:v>12.663902211356039</c:v>
                </c:pt>
                <c:pt idx="3">
                  <c:v>8.8687646412487453</c:v>
                </c:pt>
                <c:pt idx="4">
                  <c:v>6.8027427287177487</c:v>
                </c:pt>
                <c:pt idx="5">
                  <c:v>8.2677066840970923</c:v>
                </c:pt>
                <c:pt idx="7">
                  <c:v>9.1507790663549073</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5758651054957926</c:v>
                </c:pt>
                <c:pt idx="2">
                  <c:v>0.15758651054957926</c:v>
                </c:pt>
                <c:pt idx="3">
                  <c:v>0.21540029915408046</c:v>
                </c:pt>
                <c:pt idx="4">
                  <c:v>0.2194897662139467</c:v>
                </c:pt>
                <c:pt idx="6">
                  <c:v>0.22312939017936134</c:v>
                </c:pt>
                <c:pt idx="7">
                  <c:v>0.22312939017936134</c:v>
                </c:pt>
                <c:pt idx="8">
                  <c:v>0.22312939017936134</c:v>
                </c:pt>
                <c:pt idx="9">
                  <c:v>0.2328296275137067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3993019878906662</c:v>
                </c:pt>
                <c:pt idx="5">
                  <c:v>0.19948976621394668</c:v>
                </c:pt>
                <c:pt idx="10">
                  <c:v>0.2085396275137067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7813788604501197E-2</c:v>
                </c:pt>
                <c:pt idx="3">
                  <c:v>4.089467059866226E-3</c:v>
                </c:pt>
                <c:pt idx="8">
                  <c:v>9.7002373343453869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3436882394873666E-3</c:v>
                </c:pt>
                <c:pt idx="6">
                  <c:v>6.5037603458534352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02</c:v>
                </c:pt>
                <c:pt idx="5">
                  <c:v>2.4289999999999999E-2</c:v>
                </c:pt>
                <c:pt idx="10">
                  <c:v>2.4289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4.2899999999999987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5993019878906661</c:v>
                </c:pt>
                <c:pt idx="5">
                  <c:v>0.22377976621394668</c:v>
                </c:pt>
                <c:pt idx="10">
                  <c:v>0.2328296275137067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Huishoudens</c:v>
                </c:pt>
                <c:pt idx="5">
                  <c:v>Minderheden</c:v>
                </c:pt>
                <c:pt idx="6">
                  <c:v>Bijstandsontvangers</c:v>
                </c:pt>
                <c:pt idx="7">
                  <c:v>Omgevingsadressendichtheid</c:v>
                </c:pt>
                <c:pt idx="8">
                  <c:v>Klantenpotentieel lokaal</c:v>
                </c:pt>
                <c:pt idx="9">
                  <c:v>Uitkeringsontvangers</c:v>
                </c:pt>
                <c:pt idx="10">
                  <c:v>Overig</c:v>
                </c:pt>
              </c:strCache>
            </c:strRef>
          </c:cat>
          <c:val>
            <c:numRef>
              <c:f>Sheet1!$B$2:$B$12</c:f>
              <c:numCache>
                <c:formatCode>General</c:formatCode>
                <c:ptCount val="11"/>
                <c:pt idx="0">
                  <c:v>9.5519462999999999E-2</c:v>
                </c:pt>
                <c:pt idx="1">
                  <c:v>3.1999167200000005E-2</c:v>
                </c:pt>
                <c:pt idx="2">
                  <c:v>2.3691615584E-2</c:v>
                </c:pt>
                <c:pt idx="3">
                  <c:v>1.023921444E-2</c:v>
                </c:pt>
                <c:pt idx="4">
                  <c:v>7.5885867200000011E-3</c:v>
                </c:pt>
                <c:pt idx="5">
                  <c:v>7.2449728000000017E-3</c:v>
                </c:pt>
                <c:pt idx="6">
                  <c:v>6.7134050533333408E-3</c:v>
                </c:pt>
                <c:pt idx="7">
                  <c:v>4.9165128230400012E-3</c:v>
                </c:pt>
                <c:pt idx="8">
                  <c:v>4.8094019999999999E-3</c:v>
                </c:pt>
                <c:pt idx="9">
                  <c:v>4.2149501333333438E-3</c:v>
                </c:pt>
                <c:pt idx="10">
                  <c:v>1.160233776000002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2.428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3750711315000004</c:v>
                </c:pt>
                <c:pt idx="1">
                  <c:v>4.5490854132500003</c:v>
                </c:pt>
                <c:pt idx="2">
                  <c:v>4.77106420700000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1623799999999999</c:v>
                </c:pt>
                <c:pt idx="1">
                  <c:v>0.128356</c:v>
                </c:pt>
                <c:pt idx="2">
                  <c:v>0.204162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4913091315000004</c:v>
                </c:pt>
                <c:pt idx="1">
                  <c:v>4.6774414132500004</c:v>
                </c:pt>
                <c:pt idx="2">
                  <c:v>4.97522620700000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185.06843316524441</c:v>
                </c:pt>
                <c:pt idx="2">
                  <c:v>199.3496774659443</c:v>
                </c:pt>
                <c:pt idx="3">
                  <c:v>185.71715164979523</c:v>
                </c:pt>
                <c:pt idx="4">
                  <c:v>173.82329820250993</c:v>
                </c:pt>
                <c:pt idx="5">
                  <c:v>189.43789859583129</c:v>
                </c:pt>
                <c:pt idx="7">
                  <c:v>187.08200647852019</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7.9193948797517457</c:v>
                </c:pt>
                <c:pt idx="2">
                  <c:v>4.6103715170278639</c:v>
                </c:pt>
                <c:pt idx="3">
                  <c:v>4.6492156711227883</c:v>
                </c:pt>
                <c:pt idx="4">
                  <c:v>4.028801933120274</c:v>
                </c:pt>
                <c:pt idx="5">
                  <c:v>4.5932977620820701</c:v>
                </c:pt>
                <c:pt idx="7">
                  <c:v>4.4704217208382495</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192.98782804499618</c:v>
                </c:pt>
                <c:pt idx="2">
                  <c:v>203.96004898297213</c:v>
                </c:pt>
                <c:pt idx="3">
                  <c:v>190.36636732091802</c:v>
                </c:pt>
                <c:pt idx="4">
                  <c:v>177.8521001356302</c:v>
                </c:pt>
                <c:pt idx="5">
                  <c:v>194.03119635791333</c:v>
                </c:pt>
                <c:pt idx="7">
                  <c:v>191.55242819935842</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4913091315000004</c:v>
                </c:pt>
                <c:pt idx="2">
                  <c:v>4.5264389939586769</c:v>
                </c:pt>
                <c:pt idx="3">
                  <c:v>4.5264389939586769</c:v>
                </c:pt>
                <c:pt idx="4">
                  <c:v>4.6653234132500003</c:v>
                </c:pt>
                <c:pt idx="6">
                  <c:v>4.6774414132500004</c:v>
                </c:pt>
                <c:pt idx="7">
                  <c:v>4.6774414132500004</c:v>
                </c:pt>
                <c:pt idx="8">
                  <c:v>4.6774414132500004</c:v>
                </c:pt>
                <c:pt idx="9">
                  <c:v>4.899420207000001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3750711315000004</c:v>
                </c:pt>
                <c:pt idx="5">
                  <c:v>4.5490854132500003</c:v>
                </c:pt>
                <c:pt idx="10">
                  <c:v>4.771064207000001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5129862458676157E-2</c:v>
                </c:pt>
                <c:pt idx="3">
                  <c:v>0.13888441929132372</c:v>
                </c:pt>
                <c:pt idx="8">
                  <c:v>0.2219787937500008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1623799999999999</c:v>
                </c:pt>
                <c:pt idx="5">
                  <c:v>0.128356</c:v>
                </c:pt>
                <c:pt idx="10">
                  <c:v>0.204162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2118000000000004E-2</c:v>
                </c:pt>
                <c:pt idx="9">
                  <c:v>7.580600000000001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4913091315000004</c:v>
                </c:pt>
                <c:pt idx="5">
                  <c:v>4.6774414132500004</c:v>
                </c:pt>
                <c:pt idx="10">
                  <c:v>4.975226207000001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Hist.woningen in bewoonde oorden</c:v>
                </c:pt>
                <c:pt idx="4">
                  <c:v>Klantenpotentieel regionaal</c:v>
                </c:pt>
                <c:pt idx="5">
                  <c:v>Opp. historische kernen &lt;40 ha</c:v>
                </c:pt>
                <c:pt idx="6">
                  <c:v>Opp. historische kernen 40-64 ha</c:v>
                </c:pt>
                <c:pt idx="10">
                  <c:v>Overig</c:v>
                </c:pt>
              </c:strCache>
            </c:strRef>
          </c:cat>
          <c:val>
            <c:numRef>
              <c:f>Sheet1!$B$2:$B$12</c:f>
              <c:numCache>
                <c:formatCode>General</c:formatCode>
                <c:ptCount val="11"/>
                <c:pt idx="0">
                  <c:v>2.1530868216000005</c:v>
                </c:pt>
                <c:pt idx="1">
                  <c:v>1.2578436000000002</c:v>
                </c:pt>
                <c:pt idx="2">
                  <c:v>1.2212450582800003</c:v>
                </c:pt>
                <c:pt idx="3">
                  <c:v>9.2464416720000012E-2</c:v>
                </c:pt>
                <c:pt idx="4">
                  <c:v>3.7875552000000014E-2</c:v>
                </c:pt>
                <c:pt idx="5">
                  <c:v>8.5487584000000002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7.74334278231638</c:v>
                </c:pt>
                <c:pt idx="1">
                  <c:v>-116.18750153685026</c:v>
                </c:pt>
                <c:pt idx="2">
                  <c:v>-109.2950209743987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7.74334278231638</c:v>
                </c:pt>
                <c:pt idx="1">
                  <c:v>-116.18750153685026</c:v>
                </c:pt>
                <c:pt idx="2">
                  <c:v>-109.2950209743987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Combinatiefuncties</c:v>
                </c:pt>
                <c:pt idx="1">
                  <c:v>Bibliotheekmiddelen</c:v>
                </c:pt>
                <c:pt idx="2">
                  <c:v>Proeftuinen cultuurprofielen</c:v>
                </c:pt>
              </c:strCache>
            </c:strRef>
          </c:cat>
          <c:val>
            <c:numRef>
              <c:f>Sheet1!$B$2:$B$12</c:f>
              <c:numCache>
                <c:formatCode>General</c:formatCode>
                <c:ptCount val="11"/>
                <c:pt idx="0">
                  <c:v>0.129162</c:v>
                </c:pt>
                <c:pt idx="1">
                  <c:v>7.4999999999999997E-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1931350475770364</c:v>
                </c:pt>
                <c:pt idx="1">
                  <c:v>7.4648323754521204</c:v>
                </c:pt>
                <c:pt idx="2">
                  <c:v>7.83311234740637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5508999999999999E-2</c:v>
                </c:pt>
                <c:pt idx="1">
                  <c:v>3.5508999999999999E-2</c:v>
                </c:pt>
                <c:pt idx="2">
                  <c:v>3.5508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2286440475770366</c:v>
                </c:pt>
                <c:pt idx="1">
                  <c:v>7.5003413754521207</c:v>
                </c:pt>
                <c:pt idx="2">
                  <c:v>7.86862134740637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1.16855128706703</c:v>
                </c:pt>
                <c:pt idx="1">
                  <c:v>289.55905257766176</c:v>
                </c:pt>
                <c:pt idx="2">
                  <c:v>303.8445441197196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879920259547356</c:v>
                </c:pt>
                <c:pt idx="1">
                  <c:v>1.3773855702094646</c:v>
                </c:pt>
                <c:pt idx="2">
                  <c:v>1.377385570209464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82.55654331302179</c:v>
                </c:pt>
                <c:pt idx="1">
                  <c:v>290.93643814787123</c:v>
                </c:pt>
                <c:pt idx="2">
                  <c:v>305.221929689929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303.84454411971961</c:v>
                </c:pt>
                <c:pt idx="2">
                  <c:v>327.33882624626568</c:v>
                </c:pt>
                <c:pt idx="3">
                  <c:v>217.25714668251055</c:v>
                </c:pt>
                <c:pt idx="4">
                  <c:v>245.88803366850851</c:v>
                </c:pt>
                <c:pt idx="5">
                  <c:v>223.22862369777766</c:v>
                </c:pt>
                <c:pt idx="7">
                  <c:v>253.42815757376565</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1.3773855702094646</c:v>
                </c:pt>
                <c:pt idx="2">
                  <c:v>5.6850232198142416</c:v>
                </c:pt>
                <c:pt idx="3">
                  <c:v>5.0180047909744214</c:v>
                </c:pt>
                <c:pt idx="4">
                  <c:v>0</c:v>
                </c:pt>
                <c:pt idx="5">
                  <c:v>1.5684618632682046</c:v>
                </c:pt>
                <c:pt idx="7">
                  <c:v>3.0678724685142171</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305.22192968992908</c:v>
                </c:pt>
                <c:pt idx="2">
                  <c:v>333.02384946607992</c:v>
                </c:pt>
                <c:pt idx="3">
                  <c:v>222.27515147348495</c:v>
                </c:pt>
                <c:pt idx="4">
                  <c:v>245.88803366850851</c:v>
                </c:pt>
                <c:pt idx="5">
                  <c:v>224.79708556104589</c:v>
                </c:pt>
                <c:pt idx="7">
                  <c:v>256.49603004227981</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2286440475770366</c:v>
                </c:pt>
                <c:pt idx="2">
                  <c:v>7.2724151453373533</c:v>
                </c:pt>
                <c:pt idx="3">
                  <c:v>7.2724151453373533</c:v>
                </c:pt>
                <c:pt idx="4">
                  <c:v>7.5003413754521207</c:v>
                </c:pt>
                <c:pt idx="6">
                  <c:v>7.5003413754521207</c:v>
                </c:pt>
                <c:pt idx="7">
                  <c:v>7.504329804005919</c:v>
                </c:pt>
                <c:pt idx="8">
                  <c:v>7.504329804005919</c:v>
                </c:pt>
                <c:pt idx="9">
                  <c:v>7.868621347406371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1931350475770364</c:v>
                </c:pt>
                <c:pt idx="5">
                  <c:v>7.4648323754521204</c:v>
                </c:pt>
                <c:pt idx="10">
                  <c:v>7.833112347406371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4.6624446592514253E-2</c:v>
                </c:pt>
                <c:pt idx="3">
                  <c:v>0.22792623011476737</c:v>
                </c:pt>
                <c:pt idx="6">
                  <c:v>2.8883337383099603E-2</c:v>
                </c:pt>
                <c:pt idx="8">
                  <c:v>0.3642915434004523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8533488321975694E-3</c:v>
                </c:pt>
                <c:pt idx="7">
                  <c:v>2.4894908829301319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5508999999999999E-2</c:v>
                </c:pt>
                <c:pt idx="5">
                  <c:v>3.5508999999999999E-2</c:v>
                </c:pt>
                <c:pt idx="10">
                  <c:v>3.5508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2286440475770366</c:v>
                </c:pt>
                <c:pt idx="5">
                  <c:v>7.5003413754521207</c:v>
                </c:pt>
                <c:pt idx="10">
                  <c:v>7.868621347406371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pp. bebouwing kern *bodemfactor kern</c:v>
                </c:pt>
                <c:pt idx="1">
                  <c:v>Woonruimten</c:v>
                </c:pt>
                <c:pt idx="2">
                  <c:v>Woonruimten * bodemfactor kern</c:v>
                </c:pt>
                <c:pt idx="3">
                  <c:v>Land * bodemfactor gemeente</c:v>
                </c:pt>
                <c:pt idx="4">
                  <c:v>Inwoners</c:v>
                </c:pt>
                <c:pt idx="5">
                  <c:v>Land</c:v>
                </c:pt>
                <c:pt idx="6">
                  <c:v>Oppervlak bebouwing woonkernen</c:v>
                </c:pt>
                <c:pt idx="7">
                  <c:v>Omgevingsadressendichtheid</c:v>
                </c:pt>
                <c:pt idx="8">
                  <c:v>Kernen * bodemfactor buiten kom</c:v>
                </c:pt>
                <c:pt idx="9">
                  <c:v>Bedrijfsvestigingen</c:v>
                </c:pt>
                <c:pt idx="10">
                  <c:v>Overig</c:v>
                </c:pt>
              </c:strCache>
            </c:strRef>
          </c:cat>
          <c:val>
            <c:numRef>
              <c:f>Sheet1!$B$2:$B$12</c:f>
              <c:numCache>
                <c:formatCode>General</c:formatCode>
                <c:ptCount val="11"/>
                <c:pt idx="0">
                  <c:v>1.0503861894708</c:v>
                </c:pt>
                <c:pt idx="1">
                  <c:v>1.0263551126400001</c:v>
                </c:pt>
                <c:pt idx="2">
                  <c:v>0.77355914641199996</c:v>
                </c:pt>
                <c:pt idx="3">
                  <c:v>0.73875317287200004</c:v>
                </c:pt>
                <c:pt idx="4">
                  <c:v>0.67821611520000014</c:v>
                </c:pt>
                <c:pt idx="5">
                  <c:v>0.66566282640000007</c:v>
                </c:pt>
                <c:pt idx="6">
                  <c:v>0.59302023871999998</c:v>
                </c:pt>
                <c:pt idx="7">
                  <c:v>0.34283897453520001</c:v>
                </c:pt>
                <c:pt idx="8">
                  <c:v>0.29260259911999997</c:v>
                </c:pt>
                <c:pt idx="9">
                  <c:v>0.28119163800000002</c:v>
                </c:pt>
                <c:pt idx="10">
                  <c:v>1.3905263340363705</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3.5508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79625779308930544</c:v>
                </c:pt>
                <c:pt idx="1">
                  <c:v>-0.82896780322265728</c:v>
                </c:pt>
                <c:pt idx="2">
                  <c:v>-0.87511669926590285</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79625779308930544</c:v>
                </c:pt>
                <c:pt idx="1">
                  <c:v>-0.82896780322265728</c:v>
                </c:pt>
                <c:pt idx="2">
                  <c:v>-0.87511669926590285</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124488648294001</c:v>
                </c:pt>
                <c:pt idx="1">
                  <c:v>-32.155461723144192</c:v>
                </c:pt>
                <c:pt idx="2">
                  <c:v>-33.945566302013297</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124488648294001</c:v>
                </c:pt>
                <c:pt idx="1">
                  <c:v>-32.155461723144192</c:v>
                </c:pt>
                <c:pt idx="2">
                  <c:v>-33.945566302013297</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33.945566302013297</c:v>
                </c:pt>
                <c:pt idx="2">
                  <c:v>-40.110197844541254</c:v>
                </c:pt>
                <c:pt idx="3">
                  <c:v>-37.68437014913728</c:v>
                </c:pt>
                <c:pt idx="4">
                  <c:v>-41.725545125289841</c:v>
                </c:pt>
                <c:pt idx="5">
                  <c:v>-37.457583472642511</c:v>
                </c:pt>
                <c:pt idx="7">
                  <c:v>-39.24442414790272</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33.945566302013297</c:v>
                </c:pt>
                <c:pt idx="2">
                  <c:v>-40.110197844541254</c:v>
                </c:pt>
                <c:pt idx="3">
                  <c:v>-37.68437014913728</c:v>
                </c:pt>
                <c:pt idx="4">
                  <c:v>-41.725545125289841</c:v>
                </c:pt>
                <c:pt idx="5">
                  <c:v>-37.457583472642511</c:v>
                </c:pt>
                <c:pt idx="7">
                  <c:v>-39.24442414790272</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109.29502097439874</c:v>
                </c:pt>
                <c:pt idx="2">
                  <c:v>-113.52020905417956</c:v>
                </c:pt>
                <c:pt idx="3">
                  <c:v>-121.12452983540685</c:v>
                </c:pt>
                <c:pt idx="4">
                  <c:v>-128.66751791410087</c:v>
                </c:pt>
                <c:pt idx="5">
                  <c:v>-127.26282415108825</c:v>
                </c:pt>
                <c:pt idx="7">
                  <c:v>-122.64377023869388</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109.29502097439874</c:v>
                </c:pt>
                <c:pt idx="2">
                  <c:v>-113.52020905417956</c:v>
                </c:pt>
                <c:pt idx="3">
                  <c:v>-121.12452983540685</c:v>
                </c:pt>
                <c:pt idx="4">
                  <c:v>-128.66751791410087</c:v>
                </c:pt>
                <c:pt idx="5">
                  <c:v>-127.26282415108825</c:v>
                </c:pt>
                <c:pt idx="7">
                  <c:v>-122.64377023869388</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80367138045631314</c:v>
                </c:pt>
                <c:pt idx="2">
                  <c:v>-0.80367138045631314</c:v>
                </c:pt>
                <c:pt idx="3">
                  <c:v>-0.82896780322265728</c:v>
                </c:pt>
                <c:pt idx="4">
                  <c:v>-0.82896780322265728</c:v>
                </c:pt>
                <c:pt idx="6">
                  <c:v>-0.83443236507262897</c:v>
                </c:pt>
                <c:pt idx="7">
                  <c:v>-0.83443236507262897</c:v>
                </c:pt>
                <c:pt idx="8">
                  <c:v>-0.87511669926590285</c:v>
                </c:pt>
                <c:pt idx="9">
                  <c:v>-0.8751166992659028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79625779308930544</c:v>
                </c:pt>
                <c:pt idx="5">
                  <c:v>-0.82896780322265728</c:v>
                </c:pt>
                <c:pt idx="10">
                  <c:v>-0.8751166992659028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4135873670076917E-3</c:v>
                </c:pt>
                <c:pt idx="3">
                  <c:v>2.5296422766344147E-2</c:v>
                </c:pt>
                <c:pt idx="6">
                  <c:v>5.4645618499717091E-3</c:v>
                </c:pt>
                <c:pt idx="8">
                  <c:v>4.068433419327386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79625779308930544</c:v>
                </c:pt>
                <c:pt idx="5">
                  <c:v>-0.82896780322265728</c:v>
                </c:pt>
                <c:pt idx="10">
                  <c:v>-0.8751166992659028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Oeverlengte *dichtheid *bodemf. gem.</c:v>
                </c:pt>
                <c:pt idx="5">
                  <c:v>Land * bodemfactor gemeente</c:v>
                </c:pt>
                <c:pt idx="6">
                  <c:v>Oeverlengte * bodemfactor gemeente</c:v>
                </c:pt>
                <c:pt idx="7">
                  <c:v>Omgevingsadressendichtheid</c:v>
                </c:pt>
                <c:pt idx="10">
                  <c:v>Overig</c:v>
                </c:pt>
              </c:strCache>
            </c:strRef>
          </c:cat>
          <c:val>
            <c:numRef>
              <c:f>Sheet1!$B$2:$B$12</c:f>
              <c:numCache>
                <c:formatCode>General</c:formatCode>
                <c:ptCount val="11"/>
                <c:pt idx="0">
                  <c:v>-1.1716390951200002</c:v>
                </c:pt>
                <c:pt idx="1">
                  <c:v>0.4484958783552</c:v>
                </c:pt>
                <c:pt idx="2">
                  <c:v>-0.22731875920000003</c:v>
                </c:pt>
                <c:pt idx="3">
                  <c:v>-7.0306493400000003E-2</c:v>
                </c:pt>
                <c:pt idx="4">
                  <c:v>4.9648815038417143E-2</c:v>
                </c:pt>
                <c:pt idx="5">
                  <c:v>3.7832942004000003E-2</c:v>
                </c:pt>
                <c:pt idx="6">
                  <c:v>3.1655961760800003E-2</c:v>
                </c:pt>
                <c:pt idx="7">
                  <c:v>2.651405129568000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806166033596007</c:v>
                </c:pt>
                <c:pt idx="1">
                  <c:v>2.3607332028081203</c:v>
                </c:pt>
                <c:pt idx="2">
                  <c:v>2.48713641784816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806166033596007</c:v>
                </c:pt>
                <c:pt idx="1">
                  <c:v>2.3607332028081203</c:v>
                </c:pt>
                <c:pt idx="2">
                  <c:v>2.48713641784816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9.145784441214886</c:v>
                </c:pt>
                <c:pt idx="1">
                  <c:v>91.572273188833222</c:v>
                </c:pt>
                <c:pt idx="2">
                  <c:v>96.47542350070442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9.145784441214886</c:v>
                </c:pt>
                <c:pt idx="1">
                  <c:v>91.572273188833222</c:v>
                </c:pt>
                <c:pt idx="2">
                  <c:v>96.4754235007044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96.475423500704423</c:v>
                </c:pt>
                <c:pt idx="2">
                  <c:v>86.688194268643969</c:v>
                </c:pt>
                <c:pt idx="3">
                  <c:v>78.158867444988786</c:v>
                </c:pt>
                <c:pt idx="4">
                  <c:v>84.21654251156599</c:v>
                </c:pt>
                <c:pt idx="5">
                  <c:v>79.19482047001344</c:v>
                </c:pt>
                <c:pt idx="7">
                  <c:v>82.064606173803043</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96.475423500704423</c:v>
                </c:pt>
                <c:pt idx="2">
                  <c:v>86.688194268643969</c:v>
                </c:pt>
                <c:pt idx="3">
                  <c:v>78.158867444988786</c:v>
                </c:pt>
                <c:pt idx="4">
                  <c:v>84.21654251156599</c:v>
                </c:pt>
                <c:pt idx="5">
                  <c:v>79.19482047001344</c:v>
                </c:pt>
                <c:pt idx="7">
                  <c:v>82.064606173803043</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806166033596007</c:v>
                </c:pt>
                <c:pt idx="2">
                  <c:v>2.2885690456863546</c:v>
                </c:pt>
                <c:pt idx="3">
                  <c:v>2.2885690456863546</c:v>
                </c:pt>
                <c:pt idx="4">
                  <c:v>2.3607332028081203</c:v>
                </c:pt>
                <c:pt idx="6">
                  <c:v>2.3607332028081203</c:v>
                </c:pt>
                <c:pt idx="7">
                  <c:v>2.371464042261048</c:v>
                </c:pt>
                <c:pt idx="8">
                  <c:v>2.371464042261048</c:v>
                </c:pt>
                <c:pt idx="9">
                  <c:v>2.48713641784816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806166033596007</c:v>
                </c:pt>
                <c:pt idx="5">
                  <c:v>2.3607332028081203</c:v>
                </c:pt>
                <c:pt idx="10">
                  <c:v>2.48713641784816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9524423267537479E-3</c:v>
                </c:pt>
                <c:pt idx="3">
                  <c:v>7.2164157121765812E-2</c:v>
                </c:pt>
                <c:pt idx="6">
                  <c:v>1.0730839452927535E-2</c:v>
                </c:pt>
                <c:pt idx="8">
                  <c:v>0.1156723755871122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806166033596007</c:v>
                </c:pt>
                <c:pt idx="5">
                  <c:v>2.3607332028081203</c:v>
                </c:pt>
                <c:pt idx="10">
                  <c:v>2.48713641784816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Woz waarde niet woningen (in mln)</c:v>
                </c:pt>
                <c:pt idx="3">
                  <c:v>Omgevingsadressendichtheid</c:v>
                </c:pt>
                <c:pt idx="4">
                  <c:v>Buitenwater</c:v>
                </c:pt>
                <c:pt idx="5">
                  <c:v>Land</c:v>
                </c:pt>
                <c:pt idx="6">
                  <c:v>Kernen</c:v>
                </c:pt>
                <c:pt idx="7">
                  <c:v>Minderheden</c:v>
                </c:pt>
                <c:pt idx="8">
                  <c:v>Opp. bebouwing totaal</c:v>
                </c:pt>
                <c:pt idx="9">
                  <c:v>Huishoudens laag inkomen (drempel)</c:v>
                </c:pt>
                <c:pt idx="10">
                  <c:v>Overig</c:v>
                </c:pt>
              </c:strCache>
            </c:strRef>
          </c:cat>
          <c:val>
            <c:numRef>
              <c:f>Sheet1!$B$2:$B$12</c:f>
              <c:numCache>
                <c:formatCode>General</c:formatCode>
                <c:ptCount val="11"/>
                <c:pt idx="0">
                  <c:v>1.0774157284800001</c:v>
                </c:pt>
                <c:pt idx="1">
                  <c:v>0.62646962560000008</c:v>
                </c:pt>
                <c:pt idx="2">
                  <c:v>0.18274023877200002</c:v>
                </c:pt>
                <c:pt idx="3">
                  <c:v>0.11624041031616002</c:v>
                </c:pt>
                <c:pt idx="4">
                  <c:v>0.11362430248000001</c:v>
                </c:pt>
                <c:pt idx="5">
                  <c:v>0.1133899338</c:v>
                </c:pt>
                <c:pt idx="6">
                  <c:v>5.0672252800000005E-2</c:v>
                </c:pt>
                <c:pt idx="7">
                  <c:v>4.9399095200000007E-2</c:v>
                </c:pt>
                <c:pt idx="8">
                  <c:v>4.7103413760000004E-2</c:v>
                </c:pt>
                <c:pt idx="9">
                  <c:v>4.4955004639999997E-2</c:v>
                </c:pt>
                <c:pt idx="10">
                  <c:v>6.512641200000013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070046210120001</c:v>
                </c:pt>
                <c:pt idx="1">
                  <c:v>2.9291898423113998</c:v>
                </c:pt>
                <c:pt idx="2">
                  <c:v>3.07669049857520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8070046210120001</c:v>
                </c:pt>
                <c:pt idx="1">
                  <c:v>2.9291898423113998</c:v>
                </c:pt>
                <c:pt idx="2">
                  <c:v>3.07669049857520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9.7214799285463</c:v>
                </c:pt>
                <c:pt idx="1">
                  <c:v>113.62256952332817</c:v>
                </c:pt>
                <c:pt idx="2">
                  <c:v>119.344084506408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9.7214799285463</c:v>
                </c:pt>
                <c:pt idx="1">
                  <c:v>113.62256952332817</c:v>
                </c:pt>
                <c:pt idx="2">
                  <c:v>119.344084506408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0122279383999997</c:v>
                </c:pt>
                <c:pt idx="2">
                  <c:v>-3.0185032047014864</c:v>
                </c:pt>
                <c:pt idx="3">
                  <c:v>-3.0185032047014864</c:v>
                </c:pt>
                <c:pt idx="4">
                  <c:v>-2.9953137896199999</c:v>
                </c:pt>
                <c:pt idx="6">
                  <c:v>-3.0087184645997431</c:v>
                </c:pt>
                <c:pt idx="7">
                  <c:v>-3.0087184645997431</c:v>
                </c:pt>
                <c:pt idx="8">
                  <c:v>-2.8176256407199993</c:v>
                </c:pt>
                <c:pt idx="9">
                  <c:v>-2.817625640719999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0122279383999997</c:v>
                </c:pt>
                <c:pt idx="5">
                  <c:v>-2.9953137896199999</c:v>
                </c:pt>
                <c:pt idx="10">
                  <c:v>-2.817625640720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4005962787600379E-2</c:v>
                </c:pt>
                <c:pt idx="3">
                  <c:v>2.3189415081486548E-2</c:v>
                </c:pt>
                <c:pt idx="7">
                  <c:v>0.6928887536131924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028122908908718E-2</c:v>
                </c:pt>
                <c:pt idx="6">
                  <c:v>1.340467497974328E-2</c:v>
                </c:pt>
                <c:pt idx="8">
                  <c:v>0.501795929733449</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0122279383999997</c:v>
                </c:pt>
                <c:pt idx="5">
                  <c:v>-2.9953137896199999</c:v>
                </c:pt>
                <c:pt idx="10">
                  <c:v>-2.817625640720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C$2:$C$10</c:f>
              <c:numCache>
                <c:formatCode>General</c:formatCode>
                <c:ptCount val="9"/>
                <c:pt idx="0">
                  <c:v>119.34408450640809</c:v>
                </c:pt>
                <c:pt idx="2">
                  <c:v>117.86161514675696</c:v>
                </c:pt>
                <c:pt idx="3">
                  <c:v>114.97912480967469</c:v>
                </c:pt>
                <c:pt idx="4">
                  <c:v>118.14445738101959</c:v>
                </c:pt>
                <c:pt idx="5">
                  <c:v>116.28308307053089</c:v>
                </c:pt>
                <c:pt idx="7">
                  <c:v>116.81707010199554</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holen</c:v>
                </c:pt>
                <c:pt idx="2">
                  <c:v>Weststellingwerf</c:v>
                </c:pt>
                <c:pt idx="3">
                  <c:v>Beuningen</c:v>
                </c:pt>
                <c:pt idx="4">
                  <c:v>Eijsden-Margraten</c:v>
                </c:pt>
                <c:pt idx="5">
                  <c:v>Dongen</c:v>
                </c:pt>
                <c:pt idx="7">
                  <c:v>4 gemeenten</c:v>
                </c:pt>
                <c:pt idx="8">
                  <c:v>Landelijk</c:v>
                </c:pt>
              </c:strCache>
            </c:strRef>
          </c:cat>
          <c:val>
            <c:numRef>
              <c:f>Sheet1!$B$2:$B$10</c:f>
              <c:numCache>
                <c:formatCode>General</c:formatCode>
                <c:ptCount val="9"/>
                <c:pt idx="0">
                  <c:v>119.34408450640809</c:v>
                </c:pt>
                <c:pt idx="2">
                  <c:v>117.86161514675696</c:v>
                </c:pt>
                <c:pt idx="3">
                  <c:v>114.97912480967469</c:v>
                </c:pt>
                <c:pt idx="4">
                  <c:v>118.14445738101959</c:v>
                </c:pt>
                <c:pt idx="5">
                  <c:v>116.28308307053089</c:v>
                </c:pt>
                <c:pt idx="7">
                  <c:v>116.81707010199554</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8070046210120001</c:v>
                </c:pt>
                <c:pt idx="2">
                  <c:v>2.8286760227309866</c:v>
                </c:pt>
                <c:pt idx="3">
                  <c:v>2.8398321386832461</c:v>
                </c:pt>
                <c:pt idx="4">
                  <c:v>2.9291898423113998</c:v>
                </c:pt>
                <c:pt idx="6">
                  <c:v>2.9291898423113998</c:v>
                </c:pt>
                <c:pt idx="7">
                  <c:v>2.9335505101252046</c:v>
                </c:pt>
                <c:pt idx="8">
                  <c:v>2.9335505101252046</c:v>
                </c:pt>
                <c:pt idx="9">
                  <c:v>3.076690498575200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8070046210120001</c:v>
                </c:pt>
                <c:pt idx="5">
                  <c:v>2.9291898423113998</c:v>
                </c:pt>
                <c:pt idx="10">
                  <c:v>3.076690498575200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1671401718986578E-2</c:v>
                </c:pt>
                <c:pt idx="2">
                  <c:v>1.1156115952259616E-2</c:v>
                </c:pt>
                <c:pt idx="3">
                  <c:v>8.9357703628153484E-2</c:v>
                </c:pt>
                <c:pt idx="6">
                  <c:v>5.5510984572704975E-3</c:v>
                </c:pt>
                <c:pt idx="8">
                  <c:v>0.1431399884499960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1904306434654742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8070046210120001</c:v>
                </c:pt>
                <c:pt idx="5">
                  <c:v>2.9291898423113998</c:v>
                </c:pt>
                <c:pt idx="10">
                  <c:v>3.076690498575200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Bewoonde oorden 1930</c:v>
                </c:pt>
                <c:pt idx="4">
                  <c:v>Omgevingsadressendichtheid</c:v>
                </c:pt>
                <c:pt idx="5">
                  <c:v>Bedrijfsvestigingen</c:v>
                </c:pt>
                <c:pt idx="6">
                  <c:v>Land</c:v>
                </c:pt>
                <c:pt idx="7">
                  <c:v>Minderheden</c:v>
                </c:pt>
                <c:pt idx="8">
                  <c:v>Klantenpotentieel regionaal</c:v>
                </c:pt>
                <c:pt idx="9">
                  <c:v>Minderheden (drempel)</c:v>
                </c:pt>
                <c:pt idx="10">
                  <c:v>Overig</c:v>
                </c:pt>
              </c:strCache>
            </c:strRef>
          </c:cat>
          <c:val>
            <c:numRef>
              <c:f>Sheet1!$B$2:$B$12</c:f>
              <c:numCache>
                <c:formatCode>General</c:formatCode>
                <c:ptCount val="11"/>
                <c:pt idx="0">
                  <c:v>2.1206720808000004</c:v>
                </c:pt>
                <c:pt idx="1">
                  <c:v>0.60795193680000004</c:v>
                </c:pt>
                <c:pt idx="2">
                  <c:v>0.28248488112000003</c:v>
                </c:pt>
                <c:pt idx="3">
                  <c:v>3.6209904639999999E-2</c:v>
                </c:pt>
                <c:pt idx="4">
                  <c:v>-3.0289230784800007E-2</c:v>
                </c:pt>
                <c:pt idx="5">
                  <c:v>2.9121183000000002E-2</c:v>
                </c:pt>
                <c:pt idx="6">
                  <c:v>2.3908942200000002E-2</c:v>
                </c:pt>
                <c:pt idx="7">
                  <c:v>1.7907385600000002E-2</c:v>
                </c:pt>
                <c:pt idx="8">
                  <c:v>-1.12765848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1.5820272</c:v>
                </c:pt>
                <c:pt idx="1">
                  <c:v>-0.49113700272000005</c:v>
                </c:pt>
                <c:pt idx="2">
                  <c:v>-0.42618823100000003</c:v>
                </c:pt>
                <c:pt idx="3">
                  <c:v>-0.37463678700000003</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34179263617065</c:v>
                </c:pt>
                <c:pt idx="1">
                  <c:v>2.3955278715792012</c:v>
                </c:pt>
                <c:pt idx="2">
                  <c:v>2.43485874903648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0501199999999999</c:v>
                </c:pt>
                <c:pt idx="1">
                  <c:v>2.2975289999999999</c:v>
                </c:pt>
                <c:pt idx="2">
                  <c:v>2.414464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391912636170649</c:v>
                </c:pt>
                <c:pt idx="1">
                  <c:v>4.6930568715792012</c:v>
                </c:pt>
                <c:pt idx="2">
                  <c:v>4.84932374903648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9.42616761102375</cx:pt>
          <cx:pt idx="1">-2.8176256407199998</cx:pt>
          <cx:pt idx="2">36.608541970303747</cx:pt>
          <cx:pt idx="3">3.8279159999999948</cx:pt>
          <cx:pt idx="4">40.43645797030374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Thol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Tholen is ca. 40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98984932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0,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6,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9,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Tholen is ca. 40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3483169535"/>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612926038"/>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3799218989"/>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93428306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5,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Tholen is ca. 40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9503765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7,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9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8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6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7,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5,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Tholen ca. 1.569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413963837"/>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Tho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6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5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9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119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5125718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256048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9219748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3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6303258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84080114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62400496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44806335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7941168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194251422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459729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5487715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6659198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5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63124223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1695950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1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13373332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1256808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94745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8496063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9587194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604036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37990760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7886321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44581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17787256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7648034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85232843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9122362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95718820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360963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71512771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69379130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80280378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0719437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8153266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44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7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49616433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17216021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2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5984421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7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2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2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6654867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0972387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4140721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5456371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84331072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71857040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1012930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745510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5744060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0960337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87811550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7646014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88321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9,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3984654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91251443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97857254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8216862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63772820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90155751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44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78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5731028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80346612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1224648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78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7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2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2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794654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2563257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9483648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8569236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8450390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58313125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6032250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7986439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7273230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37402826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449154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1519524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57528214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6162127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1475666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87910251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81318341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1812124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2171510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6388974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51351785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7451381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2638213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ist.woningen in bewoonde oor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8189719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96708537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eftuinen cultuurprofi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48307576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5175469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60625171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1883445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9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6759422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68542436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7776178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9197653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8269885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8845038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4913887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72559264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7837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59853787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119030996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5437565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244695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283036104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97170455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48140988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0936774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7540460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1408214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0168055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6083734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9159635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8182116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Thol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97814328"/>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0,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4168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17981875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uit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8222147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6170557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35986227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8926982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32381038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4483203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58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78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8281204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8424011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17849131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7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4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88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0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3.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85981353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5847256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3186559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93463188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65721640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hol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88900307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5,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Tholen is ca. 40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2462916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9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8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6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88</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Tholen ca. 1.569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406927589"/>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Thol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5.780</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Weststellingwerf</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84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Beuning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88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Eijsden-Margrat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658</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Dong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6.05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685195554"/>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Tho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6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9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119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hol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123184293"/>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3159139186"/>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5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8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8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Thol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15</Words>
  <Application>Microsoft Office PowerPoint</Application>
  <PresentationFormat>Widescreen</PresentationFormat>
  <Paragraphs>2188</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Tholen is ca. 40 mln (1/3)</vt:lpstr>
      <vt:lpstr>Totale uitkering voor Tholen is ca. 40 mln (2/3)</vt:lpstr>
      <vt:lpstr>Totale uitkering voor Tholen is ca. 40 mln (3/3)</vt:lpstr>
      <vt:lpstr>Per inwoner ontvangt Tholen ca. 1.569 euro</vt:lpstr>
      <vt:lpstr>Dit is ca. 119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Tholen is ca. 40 mln</vt:lpstr>
      <vt:lpstr>Per inwoner ontvangt Tholen ca. 1.569 euro</vt:lpstr>
      <vt:lpstr>Dit is ca. €119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10:37:05Z</dcterms:modified>
</cp:coreProperties>
</file>